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4"/>
  </p:sldMasterIdLst>
  <p:notesMasterIdLst>
    <p:notesMasterId r:id="rId12"/>
  </p:notesMasterIdLst>
  <p:handoutMasterIdLst>
    <p:handoutMasterId r:id="rId13"/>
  </p:handoutMasterIdLst>
  <p:sldIdLst>
    <p:sldId id="323" r:id="rId5"/>
    <p:sldId id="367" r:id="rId6"/>
    <p:sldId id="368" r:id="rId7"/>
    <p:sldId id="369" r:id="rId8"/>
    <p:sldId id="370" r:id="rId9"/>
    <p:sldId id="371" r:id="rId10"/>
    <p:sldId id="372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E6E1"/>
    <a:srgbClr val="FFCCCC"/>
    <a:srgbClr val="D8D8D8"/>
    <a:srgbClr val="FFFFFF"/>
    <a:srgbClr val="2800FF"/>
    <a:srgbClr val="00BAFF"/>
    <a:srgbClr val="00FF7D"/>
    <a:srgbClr val="00F3FF"/>
    <a:srgbClr val="FFB600"/>
    <a:srgbClr val="FFEA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8A7D89-50AB-4D60-824F-A6BC6DAE2420}" v="24" dt="2020-04-06T18:22:56.2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1" autoAdjust="0"/>
    <p:restoredTop sz="94318" autoAdjust="0"/>
  </p:normalViewPr>
  <p:slideViewPr>
    <p:cSldViewPr snapToGrid="0">
      <p:cViewPr varScale="1">
        <p:scale>
          <a:sx n="89" d="100"/>
          <a:sy n="89" d="100"/>
        </p:scale>
        <p:origin x="466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7" d="100"/>
          <a:sy n="67" d="100"/>
        </p:scale>
        <p:origin x="3228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36" Type="http://schemas.microsoft.com/office/2016/11/relationships/changesInfo" Target="changesInfos/changesInfo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jith Kumar A M" userId="ad2fe987-ecc9-4ed9-859c-abe986bc5413" providerId="ADAL" clId="{0C8A7D89-50AB-4D60-824F-A6BC6DAE2420}"/>
    <pc:docChg chg="undo custSel modSld">
      <pc:chgData name="Ajith Kumar A M" userId="ad2fe987-ecc9-4ed9-859c-abe986bc5413" providerId="ADAL" clId="{0C8A7D89-50AB-4D60-824F-A6BC6DAE2420}" dt="2020-04-05T17:37:06.121" v="829" actId="20577"/>
      <pc:docMkLst>
        <pc:docMk/>
      </pc:docMkLst>
      <pc:sldChg chg="addSp modSp">
        <pc:chgData name="Ajith Kumar A M" userId="ad2fe987-ecc9-4ed9-859c-abe986bc5413" providerId="ADAL" clId="{0C8A7D89-50AB-4D60-824F-A6BC6DAE2420}" dt="2020-04-05T17:27:31.947" v="573" actId="14"/>
        <pc:sldMkLst>
          <pc:docMk/>
          <pc:sldMk cId="842525130" sldId="338"/>
        </pc:sldMkLst>
        <pc:spChg chg="mod">
          <ac:chgData name="Ajith Kumar A M" userId="ad2fe987-ecc9-4ed9-859c-abe986bc5413" providerId="ADAL" clId="{0C8A7D89-50AB-4D60-824F-A6BC6DAE2420}" dt="2020-04-05T17:24:51.300" v="501"/>
          <ac:spMkLst>
            <pc:docMk/>
            <pc:sldMk cId="842525130" sldId="338"/>
            <ac:spMk id="2" creationId="{3F157AD6-11E3-4E48-A045-D1455EB71B24}"/>
          </ac:spMkLst>
        </pc:spChg>
        <pc:spChg chg="mod">
          <ac:chgData name="Ajith Kumar A M" userId="ad2fe987-ecc9-4ed9-859c-abe986bc5413" providerId="ADAL" clId="{0C8A7D89-50AB-4D60-824F-A6BC6DAE2420}" dt="2020-04-05T17:26:32.034" v="572" actId="6549"/>
          <ac:spMkLst>
            <pc:docMk/>
            <pc:sldMk cId="842525130" sldId="338"/>
            <ac:spMk id="4" creationId="{01EB27EF-DB5E-442B-A36D-E78F4F9A9AD4}"/>
          </ac:spMkLst>
        </pc:spChg>
        <pc:spChg chg="add mod">
          <ac:chgData name="Ajith Kumar A M" userId="ad2fe987-ecc9-4ed9-859c-abe986bc5413" providerId="ADAL" clId="{0C8A7D89-50AB-4D60-824F-A6BC6DAE2420}" dt="2020-04-05T17:27:31.947" v="573" actId="14"/>
          <ac:spMkLst>
            <pc:docMk/>
            <pc:sldMk cId="842525130" sldId="338"/>
            <ac:spMk id="5" creationId="{6C3FA47C-A1FB-4A73-8538-3A2718170C70}"/>
          </ac:spMkLst>
        </pc:spChg>
      </pc:sldChg>
      <pc:sldChg chg="delSp modSp">
        <pc:chgData name="Ajith Kumar A M" userId="ad2fe987-ecc9-4ed9-859c-abe986bc5413" providerId="ADAL" clId="{0C8A7D89-50AB-4D60-824F-A6BC6DAE2420}" dt="2020-04-05T17:06:22.688" v="1" actId="1076"/>
        <pc:sldMkLst>
          <pc:docMk/>
          <pc:sldMk cId="3296578834" sldId="355"/>
        </pc:sldMkLst>
        <pc:spChg chg="mod">
          <ac:chgData name="Ajith Kumar A M" userId="ad2fe987-ecc9-4ed9-859c-abe986bc5413" providerId="ADAL" clId="{0C8A7D89-50AB-4D60-824F-A6BC6DAE2420}" dt="2020-04-05T17:06:22.688" v="1" actId="1076"/>
          <ac:spMkLst>
            <pc:docMk/>
            <pc:sldMk cId="3296578834" sldId="355"/>
            <ac:spMk id="6" creationId="{0064CEFE-1137-46BF-9FBD-64524B8B091E}"/>
          </ac:spMkLst>
        </pc:spChg>
        <pc:spChg chg="mod">
          <ac:chgData name="Ajith Kumar A M" userId="ad2fe987-ecc9-4ed9-859c-abe986bc5413" providerId="ADAL" clId="{0C8A7D89-50AB-4D60-824F-A6BC6DAE2420}" dt="2020-04-05T17:06:22.688" v="1" actId="1076"/>
          <ac:spMkLst>
            <pc:docMk/>
            <pc:sldMk cId="3296578834" sldId="355"/>
            <ac:spMk id="7" creationId="{007A4772-BB07-432D-87E3-DAAE7C6444FE}"/>
          </ac:spMkLst>
        </pc:spChg>
        <pc:spChg chg="del">
          <ac:chgData name="Ajith Kumar A M" userId="ad2fe987-ecc9-4ed9-859c-abe986bc5413" providerId="ADAL" clId="{0C8A7D89-50AB-4D60-824F-A6BC6DAE2420}" dt="2020-04-05T17:06:12.118" v="0" actId="478"/>
          <ac:spMkLst>
            <pc:docMk/>
            <pc:sldMk cId="3296578834" sldId="355"/>
            <ac:spMk id="8" creationId="{417AE190-ADEC-4110-88C9-62CE94B57827}"/>
          </ac:spMkLst>
        </pc:spChg>
        <pc:spChg chg="mod">
          <ac:chgData name="Ajith Kumar A M" userId="ad2fe987-ecc9-4ed9-859c-abe986bc5413" providerId="ADAL" clId="{0C8A7D89-50AB-4D60-824F-A6BC6DAE2420}" dt="2020-04-05T17:06:22.688" v="1" actId="1076"/>
          <ac:spMkLst>
            <pc:docMk/>
            <pc:sldMk cId="3296578834" sldId="355"/>
            <ac:spMk id="9" creationId="{7758A283-662E-4635-911E-8DE8EB8429EE}"/>
          </ac:spMkLst>
        </pc:spChg>
      </pc:sldChg>
      <pc:sldChg chg="modSp">
        <pc:chgData name="Ajith Kumar A M" userId="ad2fe987-ecc9-4ed9-859c-abe986bc5413" providerId="ADAL" clId="{0C8A7D89-50AB-4D60-824F-A6BC6DAE2420}" dt="2020-04-05T17:37:06.121" v="829" actId="20577"/>
        <pc:sldMkLst>
          <pc:docMk/>
          <pc:sldMk cId="1904212264" sldId="362"/>
        </pc:sldMkLst>
        <pc:spChg chg="mod">
          <ac:chgData name="Ajith Kumar A M" userId="ad2fe987-ecc9-4ed9-859c-abe986bc5413" providerId="ADAL" clId="{0C8A7D89-50AB-4D60-824F-A6BC6DAE2420}" dt="2020-04-05T17:37:06.121" v="829" actId="20577"/>
          <ac:spMkLst>
            <pc:docMk/>
            <pc:sldMk cId="1904212264" sldId="362"/>
            <ac:spMk id="2" creationId="{963778A0-58AD-4A3F-8803-15234899CF42}"/>
          </ac:spMkLst>
        </pc:spChg>
        <pc:spChg chg="mod">
          <ac:chgData name="Ajith Kumar A M" userId="ad2fe987-ecc9-4ed9-859c-abe986bc5413" providerId="ADAL" clId="{0C8A7D89-50AB-4D60-824F-A6BC6DAE2420}" dt="2020-04-05T17:36:39.212" v="817" actId="20577"/>
          <ac:spMkLst>
            <pc:docMk/>
            <pc:sldMk cId="1904212264" sldId="362"/>
            <ac:spMk id="3" creationId="{CD5C6083-6D64-49DA-9D2B-8D5876AA0E72}"/>
          </ac:spMkLst>
        </pc:spChg>
      </pc:sldChg>
      <pc:sldChg chg="modSp">
        <pc:chgData name="Ajith Kumar A M" userId="ad2fe987-ecc9-4ed9-859c-abe986bc5413" providerId="ADAL" clId="{0C8A7D89-50AB-4D60-824F-A6BC6DAE2420}" dt="2020-04-05T17:22:23.522" v="284" actId="113"/>
        <pc:sldMkLst>
          <pc:docMk/>
          <pc:sldMk cId="3800405843" sldId="367"/>
        </pc:sldMkLst>
        <pc:spChg chg="mod">
          <ac:chgData name="Ajith Kumar A M" userId="ad2fe987-ecc9-4ed9-859c-abe986bc5413" providerId="ADAL" clId="{0C8A7D89-50AB-4D60-824F-A6BC6DAE2420}" dt="2020-04-05T17:19:03.706" v="221" actId="1076"/>
          <ac:spMkLst>
            <pc:docMk/>
            <pc:sldMk cId="3800405843" sldId="367"/>
            <ac:spMk id="6" creationId="{F2ECD54D-5C8D-49AD-A425-C4CB5CB2C93F}"/>
          </ac:spMkLst>
        </pc:spChg>
        <pc:spChg chg="mod">
          <ac:chgData name="Ajith Kumar A M" userId="ad2fe987-ecc9-4ed9-859c-abe986bc5413" providerId="ADAL" clId="{0C8A7D89-50AB-4D60-824F-A6BC6DAE2420}" dt="2020-04-05T17:09:35.022" v="58" actId="6549"/>
          <ac:spMkLst>
            <pc:docMk/>
            <pc:sldMk cId="3800405843" sldId="367"/>
            <ac:spMk id="7" creationId="{10A19BCC-7DC1-4E85-A60C-4723386A5935}"/>
          </ac:spMkLst>
        </pc:spChg>
        <pc:spChg chg="mod">
          <ac:chgData name="Ajith Kumar A M" userId="ad2fe987-ecc9-4ed9-859c-abe986bc5413" providerId="ADAL" clId="{0C8A7D89-50AB-4D60-824F-A6BC6DAE2420}" dt="2020-04-05T17:22:18.122" v="283" actId="113"/>
          <ac:spMkLst>
            <pc:docMk/>
            <pc:sldMk cId="3800405843" sldId="367"/>
            <ac:spMk id="9" creationId="{CC70D1F4-E6DE-424F-B7CF-B0D691E2CA4F}"/>
          </ac:spMkLst>
        </pc:spChg>
        <pc:spChg chg="mod">
          <ac:chgData name="Ajith Kumar A M" userId="ad2fe987-ecc9-4ed9-859c-abe986bc5413" providerId="ADAL" clId="{0C8A7D89-50AB-4D60-824F-A6BC6DAE2420}" dt="2020-04-05T17:22:23.522" v="284" actId="113"/>
          <ac:spMkLst>
            <pc:docMk/>
            <pc:sldMk cId="3800405843" sldId="367"/>
            <ac:spMk id="10" creationId="{91653A6A-C5A8-42AE-84CB-46112987A084}"/>
          </ac:spMkLst>
        </pc:spChg>
        <pc:spChg chg="mod">
          <ac:chgData name="Ajith Kumar A M" userId="ad2fe987-ecc9-4ed9-859c-abe986bc5413" providerId="ADAL" clId="{0C8A7D89-50AB-4D60-824F-A6BC6DAE2420}" dt="2020-04-05T17:22:02.763" v="280" actId="113"/>
          <ac:spMkLst>
            <pc:docMk/>
            <pc:sldMk cId="3800405843" sldId="367"/>
            <ac:spMk id="11" creationId="{F3E43FD2-BD0C-49C4-A376-55552BC2386A}"/>
          </ac:spMkLst>
        </pc:spChg>
        <pc:spChg chg="mod">
          <ac:chgData name="Ajith Kumar A M" userId="ad2fe987-ecc9-4ed9-859c-abe986bc5413" providerId="ADAL" clId="{0C8A7D89-50AB-4D60-824F-A6BC6DAE2420}" dt="2020-04-05T17:22:05.073" v="281" actId="113"/>
          <ac:spMkLst>
            <pc:docMk/>
            <pc:sldMk cId="3800405843" sldId="367"/>
            <ac:spMk id="12" creationId="{FB51A704-1EF3-4AAA-9FE5-29136C2E9407}"/>
          </ac:spMkLst>
        </pc:spChg>
        <pc:spChg chg="mod">
          <ac:chgData name="Ajith Kumar A M" userId="ad2fe987-ecc9-4ed9-859c-abe986bc5413" providerId="ADAL" clId="{0C8A7D89-50AB-4D60-824F-A6BC6DAE2420}" dt="2020-04-05T17:10:17.091" v="61" actId="6549"/>
          <ac:spMkLst>
            <pc:docMk/>
            <pc:sldMk cId="3800405843" sldId="367"/>
            <ac:spMk id="16" creationId="{1908E0FD-EA83-478D-B59D-3569F14245CC}"/>
          </ac:spMkLst>
        </pc:spChg>
      </pc:sldChg>
    </pc:docChg>
  </pc:docChgLst>
  <pc:docChgLst>
    <pc:chgData name="A M, Ajith Kumar" userId="ad2fe987-ecc9-4ed9-859c-abe986bc5413" providerId="ADAL" clId="{0C8A7D89-50AB-4D60-824F-A6BC6DAE2420}"/>
    <pc:docChg chg="custSel modSld">
      <pc:chgData name="A M, Ajith Kumar" userId="ad2fe987-ecc9-4ed9-859c-abe986bc5413" providerId="ADAL" clId="{0C8A7D89-50AB-4D60-824F-A6BC6DAE2420}" dt="2020-04-06T18:23:33.430" v="654" actId="20577"/>
      <pc:docMkLst>
        <pc:docMk/>
      </pc:docMkLst>
      <pc:sldChg chg="modSp">
        <pc:chgData name="A M, Ajith Kumar" userId="ad2fe987-ecc9-4ed9-859c-abe986bc5413" providerId="ADAL" clId="{0C8A7D89-50AB-4D60-824F-A6BC6DAE2420}" dt="2020-04-06T18:23:33.430" v="654" actId="20577"/>
        <pc:sldMkLst>
          <pc:docMk/>
          <pc:sldMk cId="441590932" sldId="324"/>
        </pc:sldMkLst>
        <pc:graphicFrameChg chg="mod modGraphic">
          <ac:chgData name="A M, Ajith Kumar" userId="ad2fe987-ecc9-4ed9-859c-abe986bc5413" providerId="ADAL" clId="{0C8A7D89-50AB-4D60-824F-A6BC6DAE2420}" dt="2020-04-06T18:23:33.430" v="654" actId="20577"/>
          <ac:graphicFrameMkLst>
            <pc:docMk/>
            <pc:sldMk cId="441590932" sldId="324"/>
            <ac:graphicFrameMk id="4" creationId="{88B0C7D9-F8E8-4D4E-8433-499F78607512}"/>
          </ac:graphicFrameMkLst>
        </pc:graphicFrameChg>
      </pc:sldChg>
      <pc:sldChg chg="modSp">
        <pc:chgData name="A M, Ajith Kumar" userId="ad2fe987-ecc9-4ed9-859c-abe986bc5413" providerId="ADAL" clId="{0C8A7D89-50AB-4D60-824F-A6BC6DAE2420}" dt="2020-04-05T20:06:21.510" v="21" actId="5793"/>
        <pc:sldMkLst>
          <pc:docMk/>
          <pc:sldMk cId="1904212264" sldId="362"/>
        </pc:sldMkLst>
        <pc:spChg chg="mod">
          <ac:chgData name="A M, Ajith Kumar" userId="ad2fe987-ecc9-4ed9-859c-abe986bc5413" providerId="ADAL" clId="{0C8A7D89-50AB-4D60-824F-A6BC6DAE2420}" dt="2020-04-05T20:06:21.510" v="21" actId="5793"/>
          <ac:spMkLst>
            <pc:docMk/>
            <pc:sldMk cId="1904212264" sldId="362"/>
            <ac:spMk id="3" creationId="{CD5C6083-6D64-49DA-9D2B-8D5876AA0E72}"/>
          </ac:spMkLst>
        </pc:spChg>
      </pc:sldChg>
      <pc:sldChg chg="addSp modSp">
        <pc:chgData name="A M, Ajith Kumar" userId="ad2fe987-ecc9-4ed9-859c-abe986bc5413" providerId="ADAL" clId="{0C8A7D89-50AB-4D60-824F-A6BC6DAE2420}" dt="2020-04-05T20:17:56.197" v="26" actId="1076"/>
        <pc:sldMkLst>
          <pc:docMk/>
          <pc:sldMk cId="1227227221" sldId="364"/>
        </pc:sldMkLst>
        <pc:picChg chg="add mod">
          <ac:chgData name="A M, Ajith Kumar" userId="ad2fe987-ecc9-4ed9-859c-abe986bc5413" providerId="ADAL" clId="{0C8A7D89-50AB-4D60-824F-A6BC6DAE2420}" dt="2020-04-05T20:17:56.197" v="26" actId="1076"/>
          <ac:picMkLst>
            <pc:docMk/>
            <pc:sldMk cId="1227227221" sldId="364"/>
            <ac:picMk id="2" creationId="{9B5B570F-506D-4550-92F3-A5B502DA9671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/>
              <a:t>5/1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9D084F-DC83-4EB0-8CED-52E9AA3ECA1C}" type="datetimeFigureOut">
              <a:rPr lang="en-US" smtClean="0"/>
              <a:t>5/1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157E0A-F321-48DC-AF94-681D4DCF34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9220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66512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2842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48326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38986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85726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49819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5D0D3C2E-FC67-47ED-90E0-E797B7CC0FB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644647"/>
            <a:ext cx="12192000" cy="59869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0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908"/>
                        <a:ext cx="2116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381000" y="410215"/>
            <a:ext cx="2242531" cy="594000"/>
            <a:chOff x="484188" y="452438"/>
            <a:chExt cx="2246313" cy="595312"/>
          </a:xfrm>
        </p:grpSpPr>
        <p:sp>
          <p:nvSpPr>
            <p:cNvPr id="21" name="Freeform 136"/>
            <p:cNvSpPr>
              <a:spLocks/>
            </p:cNvSpPr>
            <p:nvPr userDrawn="1"/>
          </p:nvSpPr>
          <p:spPr bwMode="auto">
            <a:xfrm>
              <a:off x="1793875" y="452438"/>
              <a:ext cx="222250" cy="234950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22" name="Freeform 137"/>
            <p:cNvSpPr>
              <a:spLocks noEditPoints="1"/>
            </p:cNvSpPr>
            <p:nvPr userDrawn="1"/>
          </p:nvSpPr>
          <p:spPr bwMode="auto">
            <a:xfrm>
              <a:off x="484188" y="703263"/>
              <a:ext cx="2246313" cy="344487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1C9FD23D-30E8-435F-86B9-25D5CCD17D0A}"/>
              </a:ext>
            </a:extLst>
          </p:cNvPr>
          <p:cNvGrpSpPr/>
          <p:nvPr userDrawn="1"/>
        </p:nvGrpSpPr>
        <p:grpSpPr>
          <a:xfrm>
            <a:off x="3708238" y="1265653"/>
            <a:ext cx="5395287" cy="5514533"/>
            <a:chOff x="6420958" y="734291"/>
            <a:chExt cx="5395287" cy="5514533"/>
          </a:xfrm>
        </p:grpSpPr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xmlns="" id="{7C7ADC2A-49DD-407B-B29B-36A2D87E9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2928447"/>
              <a:ext cx="5395287" cy="3320377"/>
            </a:xfrm>
            <a:custGeom>
              <a:avLst/>
              <a:gdLst>
                <a:gd name="T0" fmla="*/ 0 w 8964"/>
                <a:gd name="T1" fmla="*/ 5507 h 5507"/>
                <a:gd name="T2" fmla="*/ 0 w 8964"/>
                <a:gd name="T3" fmla="*/ 3495 h 5507"/>
                <a:gd name="T4" fmla="*/ 8964 w 8964"/>
                <a:gd name="T5" fmla="*/ 0 h 5507"/>
                <a:gd name="T6" fmla="*/ 8964 w 8964"/>
                <a:gd name="T7" fmla="*/ 1858 h 5507"/>
                <a:gd name="T8" fmla="*/ 0 w 8964"/>
                <a:gd name="T9" fmla="*/ 5507 h 5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64" h="5507">
                  <a:moveTo>
                    <a:pt x="0" y="5507"/>
                  </a:moveTo>
                  <a:lnTo>
                    <a:pt x="0" y="3495"/>
                  </a:lnTo>
                  <a:lnTo>
                    <a:pt x="8964" y="0"/>
                  </a:lnTo>
                  <a:lnTo>
                    <a:pt x="8964" y="1858"/>
                  </a:lnTo>
                  <a:lnTo>
                    <a:pt x="0" y="5507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5000">
                  <a:schemeClr val="accent3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9">
              <a:extLst>
                <a:ext uri="{FF2B5EF4-FFF2-40B4-BE49-F238E27FC236}">
                  <a16:creationId xmlns:a16="http://schemas.microsoft.com/office/drawing/2014/main" xmlns="" id="{6A41381F-91AB-427E-AA9F-3CFA7053E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734291"/>
              <a:ext cx="5395287" cy="3315078"/>
            </a:xfrm>
            <a:custGeom>
              <a:avLst/>
              <a:gdLst>
                <a:gd name="T0" fmla="*/ 8964 w 8964"/>
                <a:gd name="T1" fmla="*/ 3640 h 5498"/>
                <a:gd name="T2" fmla="*/ 8964 w 8964"/>
                <a:gd name="T3" fmla="*/ 5498 h 5498"/>
                <a:gd name="T4" fmla="*/ 0 w 8964"/>
                <a:gd name="T5" fmla="*/ 2030 h 5498"/>
                <a:gd name="T6" fmla="*/ 0 w 8964"/>
                <a:gd name="T7" fmla="*/ 0 h 5498"/>
                <a:gd name="T8" fmla="*/ 3 w 8964"/>
                <a:gd name="T9" fmla="*/ 0 h 5498"/>
                <a:gd name="T10" fmla="*/ 8964 w 8964"/>
                <a:gd name="T11" fmla="*/ 3640 h 5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64" h="5498">
                  <a:moveTo>
                    <a:pt x="8964" y="3640"/>
                  </a:moveTo>
                  <a:lnTo>
                    <a:pt x="8964" y="5498"/>
                  </a:lnTo>
                  <a:lnTo>
                    <a:pt x="0" y="2030"/>
                  </a:lnTo>
                  <a:lnTo>
                    <a:pt x="0" y="0"/>
                  </a:lnTo>
                  <a:lnTo>
                    <a:pt x="3" y="0"/>
                  </a:lnTo>
                  <a:lnTo>
                    <a:pt x="8964" y="36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25836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6380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412875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6998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1883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800000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171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9431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2785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90C63E5-5D21-47D3-BF0D-57C09B984129}"/>
              </a:ext>
            </a:extLst>
          </p:cNvPr>
          <p:cNvSpPr txBox="1"/>
          <p:nvPr userDrawn="1"/>
        </p:nvSpPr>
        <p:spPr>
          <a:xfrm>
            <a:off x="381000" y="6617410"/>
            <a:ext cx="272415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1">
                    <a:lumMod val="65000"/>
                  </a:schemeClr>
                </a:solidFill>
              </a:rPr>
              <a:t>Copyright © 2020 Accenture. All rights reserved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EB2E99D-B14D-4A4A-866D-4CF62FB5E126}"/>
              </a:ext>
            </a:extLst>
          </p:cNvPr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bg1">
                    <a:lumMod val="65000"/>
                  </a:schemeClr>
                </a:solidFill>
              </a:rPr>
              <a:pPr algn="r"/>
              <a:t>‹#›</a:t>
            </a:fld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7670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12875"/>
            <a:ext cx="11430000" cy="93358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80999" y="6617410"/>
            <a:ext cx="272176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pyright © 2020 Accenture. All rights reserved. 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‹#›</a:t>
            </a:fld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1900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3" r:id="rId2"/>
    <p:sldLayoutId id="2147483676" r:id="rId3"/>
    <p:sldLayoutId id="2147483725" r:id="rId4"/>
    <p:sldLayoutId id="2147483711" r:id="rId5"/>
    <p:sldLayoutId id="2147483712" r:id="rId6"/>
    <p:sldLayoutId id="2147483726" r:id="rId7"/>
    <p:sldLayoutId id="2147483728" r:id="rId8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defRPr sz="3200" b="0" kern="1200" cap="all" baseline="0">
          <a:solidFill>
            <a:schemeClr val="accent1"/>
          </a:solidFill>
          <a:latin typeface="Graphik Black" panose="020B0A03030202060203" pitchFamily="34" charset="0"/>
          <a:ea typeface="+mj-ea"/>
          <a:cs typeface="+mj-cs"/>
        </a:defRPr>
      </a:lvl1pPr>
    </p:titleStyle>
    <p:bodyStyle>
      <a:lvl1pPr marL="177800" indent="-17780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•"/>
        <a:defRPr sz="2000" b="0" kern="1200" cap="none" baseline="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1pPr>
      <a:lvl2pPr marL="361950" indent="-184150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2pPr>
      <a:lvl3pPr marL="536575" indent="-174625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 userDrawn="1">
          <p15:clr>
            <a:srgbClr val="F26B43"/>
          </p15:clr>
        </p15:guide>
        <p15:guide id="9" pos="240" userDrawn="1">
          <p15:clr>
            <a:srgbClr val="F26B43"/>
          </p15:clr>
        </p15:guide>
        <p15:guide id="11" pos="3840" userDrawn="1">
          <p15:clr>
            <a:srgbClr val="F26B43"/>
          </p15:clr>
        </p15:guide>
        <p15:guide id="14" pos="7440" userDrawn="1">
          <p15:clr>
            <a:srgbClr val="F26B43"/>
          </p15:clr>
        </p15:guide>
        <p15:guide id="16" orient="horz" pos="240" userDrawn="1">
          <p15:clr>
            <a:srgbClr val="F26B43"/>
          </p15:clr>
        </p15:guide>
        <p15:guide id="17" orient="horz" pos="4020" userDrawn="1">
          <p15:clr>
            <a:srgbClr val="F26B43"/>
          </p15:clr>
        </p15:guide>
        <p15:guide id="18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 sz="quarter" idx="4294967295"/>
          </p:nvPr>
        </p:nvSpPr>
        <p:spPr>
          <a:xfrm>
            <a:off x="4795926" y="1965386"/>
            <a:ext cx="6921620" cy="590931"/>
          </a:xfrm>
        </p:spPr>
        <p:txBody>
          <a:bodyPr wrap="square" anchor="b" anchorCtr="0">
            <a:spAutoFit/>
          </a:bodyPr>
          <a:lstStyle/>
          <a:p>
            <a:pPr>
              <a:spcBef>
                <a:spcPts val="0"/>
              </a:spcBef>
            </a:pPr>
            <a:r>
              <a:rPr lang="en-US" sz="4800" dirty="0" smtClean="0">
                <a:solidFill>
                  <a:schemeClr val="tx1"/>
                </a:solidFill>
              </a:rPr>
              <a:t>Test driven development</a:t>
            </a:r>
            <a:endParaRPr lang="en-US" sz="4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5108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512875"/>
            <a:ext cx="11430000" cy="900000"/>
          </a:xfrm>
        </p:spPr>
        <p:txBody>
          <a:bodyPr/>
          <a:lstStyle/>
          <a:p>
            <a:r>
              <a:rPr lang="en-US" dirty="0" smtClean="0"/>
              <a:t>What is test driven development?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9"/>
          </p:nvPr>
        </p:nvSpPr>
        <p:spPr>
          <a:xfrm>
            <a:off x="381000" y="1412875"/>
            <a:ext cx="11430000" cy="457048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TDD is a development technique where a developer writes a unit test for new functionality before writing the actual functioning cod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The developer writes a unit test that asserts an expectation of the code. This test will fail until the developer writes the code that makes the test pas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In TDD, you want to have the unit tests run as part of your Continuous Integration build proces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TDD takes discipline and it goes against any new developer’s natural tendency to write code first and then the tests later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dopting TDD will slow teams down at first as they adapt to it but will pay off in the long run with code quality, test coverage and reduced technical deb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788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01EB27EF-DB5E-442B-A36D-E78F4F9A9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</p:spPr>
        <p:txBody>
          <a:bodyPr/>
          <a:lstStyle/>
          <a:p>
            <a:r>
              <a:rPr lang="en-US" dirty="0" smtClean="0"/>
              <a:t>What is unit testing from a developer’s perspective?-</a:t>
            </a:r>
            <a:br>
              <a:rPr lang="en-US" dirty="0" smtClean="0"/>
            </a:br>
            <a:r>
              <a:rPr lang="en-US" dirty="0" smtClean="0"/>
              <a:t>my opinion</a:t>
            </a:r>
            <a:endParaRPr lang="en-US" dirty="0"/>
          </a:p>
        </p:txBody>
      </p:sp>
      <p:sp>
        <p:nvSpPr>
          <p:cNvPr id="10" name="Title 2">
            <a:extLst>
              <a:ext uri="{FF2B5EF4-FFF2-40B4-BE49-F238E27FC236}">
                <a16:creationId xmlns="" xmlns:a16="http://schemas.microsoft.com/office/drawing/2014/main" id="{7B09939E-831C-4734-8C87-CC45C7A9FA56}"/>
              </a:ext>
            </a:extLst>
          </p:cNvPr>
          <p:cNvSpPr txBox="1">
            <a:spLocks/>
          </p:cNvSpPr>
          <p:nvPr/>
        </p:nvSpPr>
        <p:spPr>
          <a:xfrm>
            <a:off x="432831" y="1355630"/>
            <a:ext cx="2934086" cy="3026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400" dirty="0" smtClean="0">
                <a:latin typeface="Graphik Black" panose="020B0A03030202060203" pitchFamily="34" charset="0"/>
              </a:rPr>
              <a:t>It is ..</a:t>
            </a:r>
            <a:endParaRPr lang="en-US" sz="2400" dirty="0">
              <a:latin typeface="Graphik Black" panose="020B0A03030202060203" pitchFamily="34" charset="0"/>
            </a:endParaRPr>
          </a:p>
        </p:txBody>
      </p:sp>
      <p:sp>
        <p:nvSpPr>
          <p:cNvPr id="15" name="Content Placeholder 1">
            <a:extLst>
              <a:ext uri="{FF2B5EF4-FFF2-40B4-BE49-F238E27FC236}">
                <a16:creationId xmlns="" xmlns:a16="http://schemas.microsoft.com/office/drawing/2014/main" id="{32579974-DB0B-4AD3-AF6C-8B8AB027E935}"/>
              </a:ext>
            </a:extLst>
          </p:cNvPr>
          <p:cNvSpPr txBox="1">
            <a:spLocks/>
          </p:cNvSpPr>
          <p:nvPr/>
        </p:nvSpPr>
        <p:spPr>
          <a:xfrm>
            <a:off x="1126384" y="1877038"/>
            <a:ext cx="3600000" cy="1828193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2200" b="1" dirty="0">
                <a:solidFill>
                  <a:schemeClr val="accent6"/>
                </a:solidFill>
                <a:latin typeface="Graphik" panose="020B0503030202060203" pitchFamily="34" charset="0"/>
              </a:rPr>
              <a:t>The act of writing automated tests that hook into your application to verify that your code is functioning as you expect. </a:t>
            </a:r>
          </a:p>
        </p:txBody>
      </p:sp>
      <p:sp>
        <p:nvSpPr>
          <p:cNvPr id="19" name="Title 2">
            <a:extLst>
              <a:ext uri="{FF2B5EF4-FFF2-40B4-BE49-F238E27FC236}">
                <a16:creationId xmlns="" xmlns:a16="http://schemas.microsoft.com/office/drawing/2014/main" id="{5C3F49C2-1016-401C-BA94-CC8099E91C44}"/>
              </a:ext>
            </a:extLst>
          </p:cNvPr>
          <p:cNvSpPr txBox="1">
            <a:spLocks/>
          </p:cNvSpPr>
          <p:nvPr/>
        </p:nvSpPr>
        <p:spPr>
          <a:xfrm>
            <a:off x="5676227" y="1280998"/>
            <a:ext cx="2934086" cy="3026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2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2400" dirty="0" smtClean="0">
                <a:latin typeface="Graphik Black" panose="020B0A03030202060203" pitchFamily="34" charset="0"/>
              </a:rPr>
              <a:t>It is not …</a:t>
            </a:r>
            <a:endParaRPr lang="en-US" sz="2400" dirty="0">
              <a:latin typeface="Graphik Black" panose="020B0A03030202060203" pitchFamily="34" charset="0"/>
            </a:endParaRPr>
          </a:p>
        </p:txBody>
      </p:sp>
      <p:sp>
        <p:nvSpPr>
          <p:cNvPr id="28" name="Content Placeholder 1">
            <a:extLst>
              <a:ext uri="{FF2B5EF4-FFF2-40B4-BE49-F238E27FC236}">
                <a16:creationId xmlns="" xmlns:a16="http://schemas.microsoft.com/office/drawing/2014/main" id="{32579974-DB0B-4AD3-AF6C-8B8AB027E935}"/>
              </a:ext>
            </a:extLst>
          </p:cNvPr>
          <p:cNvSpPr txBox="1">
            <a:spLocks/>
          </p:cNvSpPr>
          <p:nvPr/>
        </p:nvSpPr>
        <p:spPr>
          <a:xfrm>
            <a:off x="5676227" y="1815033"/>
            <a:ext cx="4477064" cy="2169825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b="1" dirty="0" smtClean="0">
                <a:solidFill>
                  <a:schemeClr val="accent6"/>
                </a:solidFill>
                <a:latin typeface="Graphik" panose="020B0503030202060203" pitchFamily="34" charset="0"/>
              </a:rPr>
              <a:t>Synonymous with the act of running your app and manually testing your application to see if your app works as expected.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b="1" dirty="0">
                <a:solidFill>
                  <a:schemeClr val="accent6"/>
                </a:solidFill>
                <a:latin typeface="Graphik" panose="020B0503030202060203" pitchFamily="34" charset="0"/>
              </a:rPr>
              <a:t> </a:t>
            </a:r>
            <a:r>
              <a:rPr lang="en-US" b="1" dirty="0" smtClean="0">
                <a:solidFill>
                  <a:schemeClr val="accent6"/>
                </a:solidFill>
                <a:latin typeface="Graphik" panose="020B0503030202060203" pitchFamily="34" charset="0"/>
              </a:rPr>
              <a:t>      - I refer to this as “testing”    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b="1" dirty="0">
                <a:solidFill>
                  <a:schemeClr val="accent6"/>
                </a:solidFill>
                <a:latin typeface="Graphik" panose="020B0503030202060203" pitchFamily="34" charset="0"/>
              </a:rPr>
              <a:t> </a:t>
            </a:r>
            <a:r>
              <a:rPr lang="en-US" b="1" dirty="0" smtClean="0">
                <a:solidFill>
                  <a:schemeClr val="accent6"/>
                </a:solidFill>
                <a:latin typeface="Graphik" panose="020B0503030202060203" pitchFamily="34" charset="0"/>
              </a:rPr>
              <a:t>        or “integration testing”    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b="1" dirty="0">
                <a:solidFill>
                  <a:schemeClr val="accent6"/>
                </a:solidFill>
                <a:latin typeface="Graphik" panose="020B0503030202060203" pitchFamily="34" charset="0"/>
              </a:rPr>
              <a:t> </a:t>
            </a:r>
            <a:r>
              <a:rPr lang="en-US" b="1" dirty="0" smtClean="0">
                <a:solidFill>
                  <a:schemeClr val="accent6"/>
                </a:solidFill>
                <a:latin typeface="Graphik" panose="020B0503030202060203" pitchFamily="34" charset="0"/>
              </a:rPr>
              <a:t>        depending on the scope. </a:t>
            </a:r>
            <a:endParaRPr lang="en-US" b="1" dirty="0">
              <a:solidFill>
                <a:schemeClr val="accent6"/>
              </a:solidFill>
              <a:latin typeface="Graphik" panose="020B0503030202060203" pitchFamily="34" charset="0"/>
            </a:endParaRPr>
          </a:p>
        </p:txBody>
      </p:sp>
      <p:sp>
        <p:nvSpPr>
          <p:cNvPr id="29" name="Content Placeholder 1">
            <a:extLst>
              <a:ext uri="{FF2B5EF4-FFF2-40B4-BE49-F238E27FC236}">
                <a16:creationId xmlns="" xmlns:a16="http://schemas.microsoft.com/office/drawing/2014/main" id="{32579974-DB0B-4AD3-AF6C-8B8AB027E935}"/>
              </a:ext>
            </a:extLst>
          </p:cNvPr>
          <p:cNvSpPr txBox="1">
            <a:spLocks/>
          </p:cNvSpPr>
          <p:nvPr/>
        </p:nvSpPr>
        <p:spPr>
          <a:xfrm>
            <a:off x="1247153" y="4774697"/>
            <a:ext cx="9242567" cy="609398"/>
          </a:xfrm>
          <a:prstGeom prst="rect">
            <a:avLst/>
          </a:prstGeom>
        </p:spPr>
        <p:txBody>
          <a:bodyPr wrap="square" lIns="72000" tIns="0" rIns="72000" bIns="0" anchor="t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en-US" sz="2200" b="1" dirty="0" smtClean="0">
                <a:solidFill>
                  <a:schemeClr val="accent6"/>
                </a:solidFill>
                <a:latin typeface="Graphik" panose="020B0503030202060203" pitchFamily="34" charset="0"/>
              </a:rPr>
              <a:t>Your opinion may vary, but personally I avoid using  “unit testing” interchangeably for these two scenarios. </a:t>
            </a:r>
            <a:endParaRPr lang="en-US" sz="2200" b="1" dirty="0">
              <a:solidFill>
                <a:schemeClr val="accent6"/>
              </a:solidFill>
              <a:latin typeface="Graphik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8428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512875"/>
            <a:ext cx="11430000" cy="900000"/>
          </a:xfrm>
        </p:spPr>
        <p:txBody>
          <a:bodyPr/>
          <a:lstStyle/>
          <a:p>
            <a:r>
              <a:rPr lang="en-US" dirty="0" smtClean="0"/>
              <a:t>What makes a good unit test?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9"/>
          </p:nvPr>
        </p:nvSpPr>
        <p:spPr>
          <a:xfrm>
            <a:off x="381000" y="1068723"/>
            <a:ext cx="11430000" cy="517988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 meaningful assertion</a:t>
            </a:r>
          </a:p>
          <a:p>
            <a:r>
              <a:rPr lang="en-US" dirty="0"/>
              <a:t> </a:t>
            </a:r>
            <a:r>
              <a:rPr lang="en-US" dirty="0" smtClean="0"/>
              <a:t>        - Example: You get much more value by verifying that your function does </a:t>
            </a:r>
          </a:p>
          <a:p>
            <a:r>
              <a:rPr lang="en-US" dirty="0"/>
              <a:t> </a:t>
            </a:r>
            <a:r>
              <a:rPr lang="en-US" dirty="0" smtClean="0"/>
              <a:t>          what you want it to do,as opposed to simply verifying that your function exists.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Clean structure:</a:t>
            </a:r>
          </a:p>
          <a:p>
            <a:r>
              <a:rPr lang="en-US" dirty="0"/>
              <a:t> </a:t>
            </a:r>
            <a:r>
              <a:rPr lang="en-US" dirty="0" smtClean="0"/>
              <a:t>        - Arrange, Act, Assert</a:t>
            </a:r>
          </a:p>
          <a:p>
            <a:r>
              <a:rPr lang="en-US" dirty="0"/>
              <a:t> </a:t>
            </a:r>
            <a:r>
              <a:rPr lang="en-US" dirty="0" smtClean="0"/>
              <a:t>        - Given, When, Then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 meaningful description </a:t>
            </a:r>
            <a:r>
              <a:rPr lang="en-US" i="1" u="sng" dirty="0" smtClean="0"/>
              <a:t>that reads like documentation</a:t>
            </a:r>
            <a:r>
              <a:rPr lang="en-US" dirty="0" smtClean="0"/>
              <a:t>.</a:t>
            </a:r>
          </a:p>
          <a:p>
            <a:r>
              <a:rPr lang="en-US" dirty="0"/>
              <a:t> </a:t>
            </a:r>
            <a:r>
              <a:rPr lang="en-US" dirty="0" smtClean="0"/>
              <a:t>        - Example:</a:t>
            </a:r>
          </a:p>
          <a:p>
            <a:r>
              <a:rPr lang="en-US" dirty="0"/>
              <a:t> </a:t>
            </a:r>
            <a:r>
              <a:rPr lang="en-US" dirty="0" smtClean="0"/>
              <a:t>             It(‘</a:t>
            </a:r>
            <a:r>
              <a:rPr lang="en-US" i="1" dirty="0" smtClean="0"/>
              <a:t>should call the Employee Service to fetch employee-related </a:t>
            </a:r>
          </a:p>
          <a:p>
            <a:r>
              <a:rPr lang="en-US" i="1" dirty="0"/>
              <a:t> </a:t>
            </a:r>
            <a:r>
              <a:rPr lang="en-US" i="1" dirty="0" smtClean="0"/>
              <a:t>                 information</a:t>
            </a:r>
            <a:r>
              <a:rPr lang="en-US" dirty="0" smtClean="0"/>
              <a:t>’, () =&gt; {</a:t>
            </a:r>
          </a:p>
          <a:p>
            <a:r>
              <a:rPr lang="en-US" dirty="0"/>
              <a:t> </a:t>
            </a:r>
            <a:r>
              <a:rPr lang="en-US" dirty="0" smtClean="0"/>
              <a:t>                   // blah</a:t>
            </a:r>
          </a:p>
          <a:p>
            <a:r>
              <a:rPr lang="en-US" dirty="0"/>
              <a:t> </a:t>
            </a:r>
            <a:r>
              <a:rPr lang="en-US" dirty="0" smtClean="0"/>
              <a:t>               });      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 thorough test should fail if the business logic in the associated code were to significantly change at a later tim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9649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512875"/>
            <a:ext cx="11430000" cy="900000"/>
          </a:xfrm>
        </p:spPr>
        <p:txBody>
          <a:bodyPr/>
          <a:lstStyle/>
          <a:p>
            <a:r>
              <a:rPr lang="en-US" dirty="0" smtClean="0"/>
              <a:t>What makes a poor unit test?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9"/>
          </p:nvPr>
        </p:nvSpPr>
        <p:spPr>
          <a:xfrm>
            <a:off x="381000" y="1205842"/>
            <a:ext cx="11430000" cy="426578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n assertion that feels only partially done</a:t>
            </a:r>
          </a:p>
          <a:p>
            <a:r>
              <a:rPr lang="en-US" dirty="0" smtClean="0"/>
              <a:t>         - Example:  An assertion that a page navigation occurs , without also asserting 	that the navigation applies to the expected page.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 description that doesn’t convey meaning or doesn’t read like a sentence.</a:t>
            </a:r>
          </a:p>
          <a:p>
            <a:r>
              <a:rPr lang="en-US" dirty="0"/>
              <a:t> </a:t>
            </a:r>
            <a:r>
              <a:rPr lang="en-US" dirty="0" smtClean="0"/>
              <a:t>        - Example:</a:t>
            </a:r>
          </a:p>
          <a:p>
            <a:r>
              <a:rPr lang="en-US" dirty="0"/>
              <a:t> </a:t>
            </a:r>
            <a:r>
              <a:rPr lang="en-US" dirty="0" smtClean="0"/>
              <a:t>             It(‘</a:t>
            </a:r>
            <a:r>
              <a:rPr lang="en-US" i="1" dirty="0" smtClean="0"/>
              <a:t>Employee Service- getDetails</a:t>
            </a:r>
            <a:r>
              <a:rPr lang="en-US" dirty="0" smtClean="0"/>
              <a:t>, () =&gt; {</a:t>
            </a:r>
          </a:p>
          <a:p>
            <a:r>
              <a:rPr lang="en-US" dirty="0"/>
              <a:t> </a:t>
            </a:r>
            <a:r>
              <a:rPr lang="en-US" dirty="0" smtClean="0"/>
              <a:t>                   // blah</a:t>
            </a:r>
          </a:p>
          <a:p>
            <a:r>
              <a:rPr lang="en-US" dirty="0"/>
              <a:t> </a:t>
            </a:r>
            <a:r>
              <a:rPr lang="en-US" dirty="0" smtClean="0"/>
              <a:t>               });              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If there is a significant change to the business logic in the code that is associated with your test and that change doesn’t break your test then your test probably is not sufficient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8442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512875"/>
            <a:ext cx="11430000" cy="900000"/>
          </a:xfrm>
        </p:spPr>
        <p:txBody>
          <a:bodyPr/>
          <a:lstStyle/>
          <a:p>
            <a:r>
              <a:rPr lang="en-US" dirty="0" smtClean="0"/>
              <a:t>Unit testing frameworks and tool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9"/>
          </p:nvPr>
        </p:nvSpPr>
        <p:spPr>
          <a:xfrm>
            <a:off x="553529" y="1543655"/>
            <a:ext cx="6528758" cy="2742289"/>
          </a:xfrm>
        </p:spPr>
        <p:txBody>
          <a:bodyPr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Jasmi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Karm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Moch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Cha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Je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Tap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JUni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NUni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… and many more!</a:t>
            </a:r>
          </a:p>
        </p:txBody>
      </p:sp>
    </p:spTree>
    <p:extLst>
      <p:ext uri="{BB962C8B-B14F-4D97-AF65-F5344CB8AC3E}">
        <p14:creationId xmlns:p14="http://schemas.microsoft.com/office/powerpoint/2010/main" val="2951031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512875"/>
            <a:ext cx="11430000" cy="900000"/>
          </a:xfrm>
        </p:spPr>
        <p:txBody>
          <a:bodyPr/>
          <a:lstStyle/>
          <a:p>
            <a:r>
              <a:rPr lang="en-US" dirty="0" smtClean="0"/>
              <a:t>Unit testing frameworks and tool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9"/>
          </p:nvPr>
        </p:nvSpPr>
        <p:spPr>
          <a:xfrm>
            <a:off x="406214" y="1309665"/>
            <a:ext cx="6528758" cy="4875181"/>
          </a:xfrm>
        </p:spPr>
        <p:txBody>
          <a:bodyPr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Basic TDD Workflow:</a:t>
            </a:r>
          </a:p>
          <a:p>
            <a:r>
              <a:rPr lang="en-US" dirty="0" smtClean="0"/>
              <a:t>     </a:t>
            </a:r>
            <a:r>
              <a:rPr lang="en-US" dirty="0" smtClean="0">
                <a:solidFill>
                  <a:srgbClr val="FF0000"/>
                </a:solidFill>
              </a:rPr>
              <a:t>-</a:t>
            </a:r>
            <a:r>
              <a:rPr lang="en-US" dirty="0" smtClean="0"/>
              <a:t> </a:t>
            </a:r>
            <a:r>
              <a:rPr lang="en-US" dirty="0" smtClean="0">
                <a:solidFill>
                  <a:srgbClr val="FF0000"/>
                </a:solidFill>
              </a:rPr>
              <a:t>Red</a:t>
            </a:r>
            <a:r>
              <a:rPr lang="en-US" dirty="0" smtClean="0"/>
              <a:t>  </a:t>
            </a:r>
            <a:r>
              <a:rPr lang="en-US" dirty="0" smtClean="0">
                <a:sym typeface="Wingdings" panose="05000000000000000000" pitchFamily="2" charset="2"/>
              </a:rPr>
              <a:t> </a:t>
            </a:r>
            <a:r>
              <a:rPr lang="en-US" dirty="0" smtClean="0">
                <a:solidFill>
                  <a:srgbClr val="92D050"/>
                </a:solidFill>
                <a:sym typeface="Wingdings" panose="05000000000000000000" pitchFamily="2" charset="2"/>
              </a:rPr>
              <a:t>Green</a:t>
            </a:r>
            <a:r>
              <a:rPr lang="en-US" dirty="0" smtClean="0">
                <a:sym typeface="Wingdings" panose="05000000000000000000" pitchFamily="2" charset="2"/>
              </a:rPr>
              <a:t>  </a:t>
            </a:r>
            <a:r>
              <a:rPr lang="en-US" dirty="0" smtClean="0">
                <a:solidFill>
                  <a:schemeClr val="tx1"/>
                </a:solidFill>
                <a:sym typeface="Wingdings" panose="05000000000000000000" pitchFamily="2" charset="2"/>
              </a:rPr>
              <a:t>Refactor</a:t>
            </a:r>
          </a:p>
          <a:p>
            <a:endParaRPr lang="en-US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Translation:</a:t>
            </a:r>
          </a:p>
          <a:p>
            <a:r>
              <a:rPr lang="en-US" dirty="0"/>
              <a:t> </a:t>
            </a:r>
            <a:r>
              <a:rPr lang="en-US" dirty="0" smtClean="0"/>
              <a:t>      1) Write your test(s). This should fail (</a:t>
            </a:r>
            <a:r>
              <a:rPr lang="en-US" i="1" dirty="0" smtClean="0">
                <a:solidFill>
                  <a:srgbClr val="FF0000"/>
                </a:solidFill>
              </a:rPr>
              <a:t>RED</a:t>
            </a:r>
            <a:r>
              <a:rPr lang="en-US" dirty="0" smtClean="0"/>
              <a:t>) </a:t>
            </a:r>
          </a:p>
          <a:p>
            <a:r>
              <a:rPr lang="en-US" dirty="0" smtClean="0"/>
              <a:t>           at this point because you haven’t written    </a:t>
            </a:r>
          </a:p>
          <a:p>
            <a:r>
              <a:rPr lang="en-US" dirty="0"/>
              <a:t> </a:t>
            </a:r>
            <a:r>
              <a:rPr lang="en-US" dirty="0" smtClean="0"/>
              <a:t>          any code.</a:t>
            </a:r>
          </a:p>
          <a:p>
            <a:endParaRPr lang="en-US" dirty="0" smtClean="0"/>
          </a:p>
          <a:p>
            <a:r>
              <a:rPr lang="en-US" dirty="0"/>
              <a:t> </a:t>
            </a:r>
            <a:r>
              <a:rPr lang="en-US" dirty="0" smtClean="0"/>
              <a:t>      2) Write the code that aligns with the test(s).</a:t>
            </a:r>
          </a:p>
          <a:p>
            <a:r>
              <a:rPr lang="en-US" dirty="0" smtClean="0"/>
              <a:t>           The goal is to make your code cause the </a:t>
            </a:r>
          </a:p>
          <a:p>
            <a:r>
              <a:rPr lang="en-US" dirty="0"/>
              <a:t> </a:t>
            </a:r>
            <a:r>
              <a:rPr lang="en-US" dirty="0" smtClean="0"/>
              <a:t>           associated test(s) to pass (</a:t>
            </a:r>
            <a:r>
              <a:rPr lang="en-US" dirty="0">
                <a:solidFill>
                  <a:srgbClr val="92D050"/>
                </a:solidFill>
              </a:rPr>
              <a:t>GREEN</a:t>
            </a:r>
            <a:r>
              <a:rPr lang="en-US" dirty="0" smtClean="0"/>
              <a:t>).</a:t>
            </a:r>
          </a:p>
          <a:p>
            <a:endParaRPr lang="en-US" dirty="0" smtClean="0"/>
          </a:p>
          <a:p>
            <a:r>
              <a:rPr lang="en-US" dirty="0"/>
              <a:t> </a:t>
            </a:r>
            <a:r>
              <a:rPr lang="en-US" dirty="0" smtClean="0"/>
              <a:t>      3) Refactor your code as needed.</a:t>
            </a:r>
          </a:p>
          <a:p>
            <a:endParaRPr lang="en-US" dirty="0" smtClean="0"/>
          </a:p>
          <a:p>
            <a:r>
              <a:rPr lang="en-US" dirty="0"/>
              <a:t> </a:t>
            </a:r>
            <a:r>
              <a:rPr lang="en-US" dirty="0" smtClean="0"/>
              <a:t>      4) Repeat this process and commit your 	code and test(s) when you’re ready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41340" y="1644955"/>
            <a:ext cx="4918390" cy="4204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629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00000_Acc_Engl">
  <a:themeElements>
    <a:clrScheme name="Custom 9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7500C0"/>
      </a:hlink>
      <a:folHlink>
        <a:srgbClr val="004DFF"/>
      </a:folHlink>
    </a:clrScheme>
    <a:fontScheme name="Custom 1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lnSpc>
            <a:spcPct val="90000"/>
          </a:lnSpc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33350" indent="-133350" algn="l">
          <a:lnSpc>
            <a:spcPct val="90000"/>
          </a:lnSpc>
          <a:spcBef>
            <a:spcPts val="300"/>
          </a:spcBef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CSB00000_Acc_Engl_Graphik.potx" id="{1A3265B6-8FB7-4BE7-A2AF-0C73A605FCAB}" vid="{AB8D690C-83A2-410D-A780-9DA2820399C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AEE4454DBAFD4FA47858D8EAD29F27" ma:contentTypeVersion="2" ma:contentTypeDescription="Create a new document." ma:contentTypeScope="" ma:versionID="139db518db2b5af20678c1aa5c18d248">
  <xsd:schema xmlns:xsd="http://www.w3.org/2001/XMLSchema" xmlns:xs="http://www.w3.org/2001/XMLSchema" xmlns:p="http://schemas.microsoft.com/office/2006/metadata/properties" xmlns:ns2="12f20d0d-6b00-4e15-a91a-72ddf6ad8ee6" targetNamespace="http://schemas.microsoft.com/office/2006/metadata/properties" ma:root="true" ma:fieldsID="c343beb0faeeef44634e0ac92313efcd" ns2:_="">
    <xsd:import namespace="12f20d0d-6b00-4e15-a91a-72ddf6ad8e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f20d0d-6b00-4e15-a91a-72ddf6ad8e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194625D-395F-4ECB-9103-3AB55A05BF9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19077B2-AE87-4925-A67B-FBB6F160B184}">
  <ds:schemaRefs>
    <ds:schemaRef ds:uri="http://purl.org/dc/terms/"/>
    <ds:schemaRef ds:uri="http://www.w3.org/XML/1998/namespace"/>
    <ds:schemaRef ds:uri="http://schemas.microsoft.com/office/2006/documentManagement/types"/>
    <ds:schemaRef ds:uri="http://purl.org/dc/dcmitype/"/>
    <ds:schemaRef ds:uri="http://purl.org/dc/elements/1.1/"/>
    <ds:schemaRef ds:uri="12f20d0d-6b00-4e15-a91a-72ddf6ad8ee6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07D9320E-6576-4622-9A7D-6F940AA5130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2f20d0d-6b00-4e15-a91a-72ddf6ad8e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AN_NE_Training</Template>
  <TotalTime>1566</TotalTime>
  <Words>497</Words>
  <Application>Microsoft Office PowerPoint</Application>
  <PresentationFormat>Widescreen</PresentationFormat>
  <Paragraphs>80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Graphik</vt:lpstr>
      <vt:lpstr>Graphik Black</vt:lpstr>
      <vt:lpstr>Wingdings</vt:lpstr>
      <vt:lpstr>CA00000_Acc_Engl</vt:lpstr>
      <vt:lpstr>think-cell Slide</vt:lpstr>
      <vt:lpstr>Test driven development</vt:lpstr>
      <vt:lpstr>What is test driven development?</vt:lpstr>
      <vt:lpstr>What is unit testing from a developer’s perspective?- my opinion</vt:lpstr>
      <vt:lpstr>What makes a good unit test?</vt:lpstr>
      <vt:lpstr>What makes a poor unit test?</vt:lpstr>
      <vt:lpstr>Unit testing frameworks and tools</vt:lpstr>
      <vt:lpstr>Unit testing frameworks and tools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AN Stack</dc:title>
  <dc:subject>CSB</dc:subject>
  <dc:creator>Ajith Kumar A M</dc:creator>
  <cp:keywords/>
  <dc:description/>
  <cp:lastModifiedBy>chaitu t</cp:lastModifiedBy>
  <cp:revision>41</cp:revision>
  <dcterms:created xsi:type="dcterms:W3CDTF">2020-04-03T17:19:38Z</dcterms:created>
  <dcterms:modified xsi:type="dcterms:W3CDTF">2020-05-13T04:56:5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AEE4454DBAFD4FA47858D8EAD29F27</vt:lpwstr>
  </property>
</Properties>
</file>